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4v" ContentType="video/unknown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4.xml" ContentType="application/vnd.openxmlformats-officedocument.presentationml.notesSlide+xml"/>
  <Override PartName="/ppt/tags/tag20.xml" ContentType="application/vnd.openxmlformats-officedocument.presentationml.tags+xml"/>
  <Override PartName="/ppt/notesSlides/notesSlide5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6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7.xml" ContentType="application/vnd.openxmlformats-officedocument.presentationml.notesSlide+xml"/>
  <Override PartName="/ppt/tags/tag2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9"/>
  </p:notesMasterIdLst>
  <p:sldIdLst>
    <p:sldId id="256" r:id="rId2"/>
    <p:sldId id="257" r:id="rId3"/>
    <p:sldId id="322" r:id="rId4"/>
    <p:sldId id="625" r:id="rId5"/>
    <p:sldId id="323" r:id="rId6"/>
    <p:sldId id="328" r:id="rId7"/>
    <p:sldId id="332" r:id="rId8"/>
    <p:sldId id="578" r:id="rId9"/>
    <p:sldId id="580" r:id="rId10"/>
    <p:sldId id="581" r:id="rId11"/>
    <p:sldId id="582" r:id="rId12"/>
    <p:sldId id="583" r:id="rId13"/>
    <p:sldId id="618" r:id="rId14"/>
    <p:sldId id="619" r:id="rId15"/>
    <p:sldId id="588" r:id="rId16"/>
    <p:sldId id="576" r:id="rId17"/>
    <p:sldId id="600" r:id="rId18"/>
    <p:sldId id="620" r:id="rId19"/>
    <p:sldId id="626" r:id="rId20"/>
    <p:sldId id="610" r:id="rId21"/>
    <p:sldId id="577" r:id="rId22"/>
    <p:sldId id="622" r:id="rId23"/>
    <p:sldId id="623" r:id="rId24"/>
    <p:sldId id="624" r:id="rId25"/>
    <p:sldId id="621" r:id="rId26"/>
    <p:sldId id="330" r:id="rId27"/>
    <p:sldId id="575" r:id="rId28"/>
  </p:sldIdLst>
  <p:sldSz cx="12192000" cy="6858000"/>
  <p:notesSz cx="12192000" cy="6858000"/>
  <p:custDataLst>
    <p:tags r:id="rId30"/>
  </p:custDataLst>
  <p:defaultTextStyle>
    <a:defPPr>
      <a:defRPr lang="de-DE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31"/>
    <p:restoredTop sz="81606" autoAdjust="0"/>
  </p:normalViewPr>
  <p:slideViewPr>
    <p:cSldViewPr>
      <p:cViewPr varScale="1">
        <p:scale>
          <a:sx n="91" d="100"/>
          <a:sy n="91" d="100"/>
        </p:scale>
        <p:origin x="1384" y="1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tags" Target="tags/tag1.xml"/><Relationship Id="rId8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auto"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DE7E3AB8-876E-1542-BA35-CC1AAFD17F71}" type="datetimeFigureOut">
              <a:rPr lang="de-DE"/>
              <a:t>01.03.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>
              <a:defRPr/>
            </a:pPr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auto"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F79C1C61-5747-1145-9454-DA5BFFD99B8B}" type="slidenum">
              <a:rPr lang="de-DE"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>
      <a:defRPr sz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F79C1C61-5747-1145-9454-DA5BFFD99B8B}" type="slidenum">
              <a:rPr lang="de-DE"/>
              <a:t>1</a:t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F79C1C61-5747-1145-9454-DA5BFFD99B8B}" type="slidenum">
              <a:rPr lang="de-DE"/>
              <a:t>2</a:t>
            </a:fld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F79C1C61-5747-1145-9454-DA5BFFD99B8B}" type="slidenum">
              <a:rPr lang="de-DE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63710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A48AE5-40CD-D246-B914-1E51F93A2EAE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07722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A48AE5-40CD-D246-B914-1E51F93A2EAE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51567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A48AE5-40CD-D246-B914-1E51F93A2EAE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0106738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 dirty="0"/>
              <a:t>Dieses Video gliedert sich in sechs Teile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In dem Kapitel Einführung gebe ich Ihnen anhand von zwei Beispielen eine praktische Einführung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Anschließend wird die Methode KATA, welche wir im Zusatzstudium verwenden kurz erläutert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Auf Ihre Aufgaben als Coach wird im 3 Kapitel im Detail eingegangen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er Ablauf des Coachingprozess ist Thema von Kapitel 4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ie Inhalte dieses Videos werden in Kapitel 5 zusammengefasst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ie verwendete Literatur sowie weiterführende Links und Videos werden in Kapitel 6 angegeben. </a:t>
            </a:r>
            <a:endParaRPr dirty="0"/>
          </a:p>
          <a:p>
            <a:pPr>
              <a:defRPr/>
            </a:pPr>
            <a:endParaRPr lang="de-DE" dirty="0"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de-DE" dirty="0"/>
              <a:t>Nun starten wir mit dem Kapitel Einführung </a:t>
            </a:r>
            <a:endParaRPr dirty="0"/>
          </a:p>
          <a:p>
            <a:pPr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F79C1C61-5747-1145-9454-DA5BFFD99B8B}" type="slidenum">
              <a:rPr lang="de-DE"/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37840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12.png"/><Relationship Id="rId4" Type="http://schemas.openxmlformats.org/officeDocument/2006/relationships/image" Target="../media/image1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5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6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8.png"/><Relationship Id="rId4" Type="http://schemas.openxmlformats.org/officeDocument/2006/relationships/image" Target="../media/image7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 userDrawn="1">
  <p:cSld name="Titelfolie">
    <p:bg>
      <p:bgRef idx="1002">
        <a:schemeClr val="bg2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-1" y="0"/>
            <a:ext cx="12189349" cy="6858000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auto">
          <a:xfrm>
            <a:off x="764447" y="648393"/>
            <a:ext cx="5331553" cy="1936627"/>
          </a:xfrm>
        </p:spPr>
        <p:txBody>
          <a:bodyPr anchor="b">
            <a:normAutofit/>
          </a:bodyPr>
          <a:lstStyle>
            <a:lvl1pPr algn="l">
              <a:defRPr sz="4400" b="1" i="0">
                <a:solidFill>
                  <a:srgbClr val="FCFCFC"/>
                </a:solidFill>
                <a:latin typeface="Chakra Petch SemiBold"/>
                <a:ea typeface="Helvetica Neue Light"/>
                <a:cs typeface="Chakra Petch SemiBold"/>
              </a:defRPr>
            </a:lvl1pPr>
          </a:lstStyle>
          <a:p>
            <a:pPr>
              <a:defRPr/>
            </a:pPr>
            <a:r>
              <a:rPr lang="de-DE"/>
              <a:t>Challenge XX:</a:t>
            </a:r>
            <a:br>
              <a:rPr lang="de-DE"/>
            </a:br>
            <a:r>
              <a:rPr lang="de-DE"/>
              <a:t>Name der Challenge</a:t>
            </a:r>
            <a:endParaRPr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auto">
          <a:xfrm>
            <a:off x="764447" y="2678233"/>
            <a:ext cx="5331553" cy="1366825"/>
          </a:xfrm>
        </p:spPr>
        <p:txBody>
          <a:bodyPr/>
          <a:lstStyle>
            <a:lvl1pPr marL="0" indent="0" algn="l">
              <a:buNone/>
              <a:defRPr sz="2000" b="0" i="0">
                <a:solidFill>
                  <a:srgbClr val="FCFCFC"/>
                </a:solidFill>
                <a:latin typeface="Lato Light"/>
                <a:ea typeface="Helvetica Neue Ligh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de-DE"/>
              <a:t>Inhalt der Challenge &amp; Zuständige*r Professor*in </a:t>
            </a:r>
            <a:endParaRPr/>
          </a:p>
        </p:txBody>
      </p:sp>
      <p:sp>
        <p:nvSpPr>
          <p:cNvPr id="8" name="Rechteck 7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chemeClr val="accent3">
              <a:alpha val="80919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chemeClr val="accent3">
              <a:alpha val="80919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2_Iphone Templa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9532A48-467C-56B2-2FE0-6FA032D268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689344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14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1281658" y="1545899"/>
            <a:ext cx="3110459" cy="4112888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pic>
        <p:nvPicPr>
          <p:cNvPr id="8" name="Grafik 7" descr="Ein Bild, das Text, Monitor, Elektronik, Bildschirm enthält.&#10;&#10;Automatisch generierte Beschreibung"/>
          <p:cNvPicPr>
            <a:picLocks noChangeAspect="1"/>
          </p:cNvPicPr>
          <p:nvPr userDrawn="1"/>
        </p:nvPicPr>
        <p:blipFill>
          <a:blip r:embed="rId5"/>
          <a:stretch/>
        </p:blipFill>
        <p:spPr bwMode="auto">
          <a:xfrm rot="5400000">
            <a:off x="255414" y="1871068"/>
            <a:ext cx="5126031" cy="3447178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Folie mit Inhalte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A174F3E-253C-DB48-41B1-53826F9673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147206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8" y="1111184"/>
            <a:ext cx="5578252" cy="4351338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buFont typeface="Wingdings"/>
              <a:buChar char="§"/>
              <a:defRPr sz="2400" b="0" i="0">
                <a:latin typeface="Lato Light"/>
              </a:defRPr>
            </a:lvl1pPr>
            <a:lvl2pPr marL="685800" indent="-228600">
              <a:lnSpc>
                <a:spcPct val="100000"/>
              </a:lnSpc>
              <a:buFont typeface="Wingdings"/>
              <a:buChar char="§"/>
              <a:defRPr sz="2000" b="0" i="0">
                <a:latin typeface="Lato Light"/>
              </a:defRPr>
            </a:lvl2pPr>
            <a:lvl3pPr marL="1143000" indent="-228600">
              <a:lnSpc>
                <a:spcPct val="100000"/>
              </a:lnSpc>
              <a:buFont typeface="Wingdings"/>
              <a:buChar char="§"/>
              <a:defRPr sz="1800" b="0" i="0">
                <a:latin typeface="Lato Light"/>
              </a:defRPr>
            </a:lvl3pPr>
            <a:lvl4pPr marL="1600200" indent="-228600">
              <a:lnSpc>
                <a:spcPct val="100000"/>
              </a:lnSpc>
              <a:buFont typeface="Wingdings"/>
              <a:buChar char="§"/>
              <a:defRPr sz="1600" b="0" i="0">
                <a:latin typeface="Lato Light"/>
              </a:defRPr>
            </a:lvl4pPr>
            <a:lvl5pPr marL="2057400" indent="-228600">
              <a:lnSpc>
                <a:spcPct val="100000"/>
              </a:lnSpc>
              <a:buFont typeface="Wingdings"/>
              <a:buChar char="§"/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8" name="Rechteck 7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9" name="Rechteck 8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1_Folie mit Inhalte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F9049C3-95A3-BF23-BB46-284527D4A6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601929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8" y="1111184"/>
            <a:ext cx="5578252" cy="4351338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buFont typeface="Wingdings"/>
              <a:buChar char="§"/>
              <a:defRPr sz="2400" b="0" i="0">
                <a:latin typeface="Lato Light"/>
              </a:defRPr>
            </a:lvl1pPr>
            <a:lvl2pPr marL="685800" indent="-228600">
              <a:lnSpc>
                <a:spcPct val="100000"/>
              </a:lnSpc>
              <a:buFont typeface="Wingdings"/>
              <a:buChar char="§"/>
              <a:defRPr sz="2000" b="0" i="0">
                <a:latin typeface="Lato Light"/>
              </a:defRPr>
            </a:lvl2pPr>
            <a:lvl3pPr marL="1143000" indent="-228600">
              <a:lnSpc>
                <a:spcPct val="100000"/>
              </a:lnSpc>
              <a:buFont typeface="Wingdings"/>
              <a:buChar char="§"/>
              <a:defRPr sz="1800" b="0" i="0">
                <a:latin typeface="Lato Light"/>
              </a:defRPr>
            </a:lvl3pPr>
            <a:lvl4pPr marL="1600200" indent="-228600">
              <a:lnSpc>
                <a:spcPct val="100000"/>
              </a:lnSpc>
              <a:buFont typeface="Wingdings"/>
              <a:buChar char="§"/>
              <a:defRPr sz="1600" b="0" i="0">
                <a:latin typeface="Lato Light"/>
              </a:defRPr>
            </a:lvl4pPr>
            <a:lvl5pPr marL="2057400" indent="-228600">
              <a:lnSpc>
                <a:spcPct val="100000"/>
              </a:lnSpc>
              <a:buFont typeface="Wingdings"/>
              <a:buChar char="§"/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5" name="Rechteck 4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6" name="Rechteck 5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Folie mit Co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991824A-7600-74A5-C9AA-ACB0F764CE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70356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solidFill>
                  <a:srgbClr val="000000"/>
                </a:solidFill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 hasCustomPrompt="1"/>
          </p:nvPr>
        </p:nvSpPr>
        <p:spPr bwMode="auto">
          <a:xfrm>
            <a:off x="517748" y="1121866"/>
            <a:ext cx="5578252" cy="3811588"/>
          </a:xfrm>
        </p:spPr>
        <p:txBody>
          <a:bodyPr/>
          <a:lstStyle>
            <a:lvl1pPr marL="0" marR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 sz="1600">
                <a:latin typeface="Source Code Pro"/>
                <a:ea typeface="Source Code Pro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lvl="0">
              <a:defRPr/>
            </a:pPr>
            <a:endParaRPr lang="de-DE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2" name="Rechteck 11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Folie mit Code_Ausnahmekomplettfüllend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DB3B170-C8D4-6CD8-C2C6-F5D7831CAA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956801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 hasCustomPrompt="1"/>
          </p:nvPr>
        </p:nvSpPr>
        <p:spPr bwMode="auto">
          <a:xfrm>
            <a:off x="517748" y="1056501"/>
            <a:ext cx="10515599" cy="5076311"/>
          </a:xfrm>
        </p:spPr>
        <p:txBody>
          <a:bodyPr/>
          <a:lstStyle>
            <a:lvl1pPr marL="0" marR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 sz="1600">
                <a:latin typeface="Source Code Pro"/>
                <a:ea typeface="Source Code Pro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lvl="0"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lvl="0"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endParaRPr lang="de-DE"/>
          </a:p>
          <a:p>
            <a:pPr lvl="0">
              <a:defRPr/>
            </a:pPr>
            <a:endParaRPr lang="de-DE"/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2" name="Rechteck 11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Titel und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CDAE088-FF36-7AEF-DB69-0A1946A021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955379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4" name="Rechteck 3"/>
          <p:cNvSpPr/>
          <p:nvPr userDrawn="1"/>
        </p:nvSpPr>
        <p:spPr bwMode="auto">
          <a:xfrm>
            <a:off x="517748" y="1293593"/>
            <a:ext cx="5578252" cy="4541519"/>
          </a:xfrm>
          <a:prstGeom prst="rect">
            <a:avLst/>
          </a:prstGeom>
          <a:solidFill>
            <a:srgbClr val="F1F1F1">
              <a:alpha val="4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8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644061" y="1539581"/>
            <a:ext cx="5325626" cy="4049539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Macbook Templa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B7F283E-D662-3DCD-3E38-085AD94CA2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864707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14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1" y="1667152"/>
            <a:ext cx="5778708" cy="3631871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pic>
        <p:nvPicPr>
          <p:cNvPr id="16" name="Grafik 15" descr="Ein Bild, das Text, Monitor, Elektronik, Computer enthält.&#10;&#10;Automatisch generierte Beschreibung"/>
          <p:cNvPicPr>
            <a:picLocks noChangeAspect="1"/>
          </p:cNvPicPr>
          <p:nvPr userDrawn="1"/>
        </p:nvPicPr>
        <p:blipFill>
          <a:blip r:embed="rId5"/>
          <a:srcRect l="17792" b="8537"/>
          <a:stretch/>
        </p:blipFill>
        <p:spPr bwMode="auto">
          <a:xfrm>
            <a:off x="-1" y="1290252"/>
            <a:ext cx="7348451" cy="4720804"/>
          </a:xfrm>
          <a:prstGeom prst="rect">
            <a:avLst/>
          </a:prstGeom>
        </p:spPr>
      </p:pic>
      <p:sp>
        <p:nvSpPr>
          <p:cNvPr id="8" name="Rechteck 7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Iphone Templa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99CEA8-6D3B-98DE-2E1F-89F849400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953494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14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1656414" y="1174534"/>
            <a:ext cx="2323476" cy="4896481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5"/>
          <a:stretch/>
        </p:blipFill>
        <p:spPr bwMode="auto">
          <a:xfrm>
            <a:off x="1502212" y="1015120"/>
            <a:ext cx="2646865" cy="5209082"/>
          </a:xfrm>
          <a:prstGeom prst="rect">
            <a:avLst/>
          </a:prstGeom>
        </p:spPr>
      </p:pic>
      <p:sp>
        <p:nvSpPr>
          <p:cNvPr id="8" name="Rechteck 7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Iphone Templa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C28D747-21F3-24D2-C6B4-60A10577AE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402729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14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1026826" y="1710791"/>
            <a:ext cx="4542019" cy="3438330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pic>
        <p:nvPicPr>
          <p:cNvPr id="8" name="Grafik 7" descr="Ein Bild, das Text, Monitor, Elektronik, Bildschirm enthält.&#10;&#10;Automatisch generierte Beschreibung"/>
          <p:cNvPicPr>
            <a:picLocks noChangeAspect="1"/>
          </p:cNvPicPr>
          <p:nvPr userDrawn="1"/>
        </p:nvPicPr>
        <p:blipFill>
          <a:blip r:embed="rId5"/>
          <a:stretch/>
        </p:blipFill>
        <p:spPr bwMode="auto">
          <a:xfrm>
            <a:off x="474491" y="1524265"/>
            <a:ext cx="5664765" cy="3809469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96033704"/>
              </p:ext>
            </p:extLst>
          </p:nvPr>
        </p:nvGraphicFramePr>
        <p:xfrm>
          <a:off x="1587" y="1587"/>
          <a:ext cx="122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2" name=""/>
                      <p:cNvPicPr/>
                      <p:nvPr/>
                    </p:nvPicPr>
                    <p:blipFill>
                      <a:blip r:embed="rId13"/>
                      <a:stretch/>
                    </p:blipFill>
                    <p:spPr bwMode="auto">
                      <a:xfrm>
                        <a:off x="1587" y="1587"/>
                        <a:ext cx="122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de-DE"/>
              <a:t>Mastertitelformat bearbeiten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auto"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8C445101-65EE-0048-9A14-29E3837D9AD2}" type="datetimeFigureOut">
              <a:rPr lang="de-DE"/>
              <a:t>01.03.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auto"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BA70E1B9-DFD7-0A42-890A-819B1ED8E014}" type="slidenum">
              <a:rPr lang="de-DE"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</p:sldLayoutIdLst>
  <p:txStyles>
    <p:titleStyle>
      <a:lvl1pPr algn="l" defTabSz="914400">
        <a:lnSpc>
          <a:spcPct val="90000"/>
        </a:lnSpc>
        <a:spcBef>
          <a:spcPts val="0"/>
        </a:spcBef>
        <a:buNone/>
        <a:defRPr sz="44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video" Target="../media/media1.m4v"/><Relationship Id="rId7" Type="http://schemas.openxmlformats.org/officeDocument/2006/relationships/image" Target="../media/image21.png"/><Relationship Id="rId2" Type="http://schemas.microsoft.com/office/2007/relationships/media" Target="../media/media1.m4v"/><Relationship Id="rId1" Type="http://schemas.openxmlformats.org/officeDocument/2006/relationships/tags" Target="../tags/tag17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5" Type="http://schemas.openxmlformats.org/officeDocument/2006/relationships/image" Target="../media/image22.tiff"/><Relationship Id="rId4" Type="http://schemas.openxmlformats.org/officeDocument/2006/relationships/image" Target="../media/image18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5" Type="http://schemas.openxmlformats.org/officeDocument/2006/relationships/image" Target="../media/image23.tiff"/><Relationship Id="rId4" Type="http://schemas.openxmlformats.org/officeDocument/2006/relationships/image" Target="../media/image18.emf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tif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4" Type="http://schemas.openxmlformats.org/officeDocument/2006/relationships/image" Target="../media/image17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4" Type="http://schemas.openxmlformats.org/officeDocument/2006/relationships/image" Target="../media/image28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Relationship Id="rId4" Type="http://schemas.openxmlformats.org/officeDocument/2006/relationships/image" Target="../media/image29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emf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4" Type="http://schemas.openxmlformats.org/officeDocument/2006/relationships/image" Target="../media/image17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Relationship Id="rId4" Type="http://schemas.openxmlformats.org/officeDocument/2006/relationships/image" Target="../media/image30.emf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.xml"/><Relationship Id="rId5" Type="http://schemas.openxmlformats.org/officeDocument/2006/relationships/image" Target="../media/image33.png"/><Relationship Id="rId4" Type="http://schemas.openxmlformats.org/officeDocument/2006/relationships/image" Target="../media/image32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6.xml"/><Relationship Id="rId5" Type="http://schemas.openxmlformats.org/officeDocument/2006/relationships/image" Target="../media/image31.png"/><Relationship Id="rId4" Type="http://schemas.openxmlformats.org/officeDocument/2006/relationships/image" Target="../media/image34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7.xml"/><Relationship Id="rId4" Type="http://schemas.openxmlformats.org/officeDocument/2006/relationships/image" Target="../media/image35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4" Type="http://schemas.openxmlformats.org/officeDocument/2006/relationships/image" Target="../media/image15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4" Type="http://schemas.openxmlformats.org/officeDocument/2006/relationships/image" Target="../media/image15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4" Type="http://schemas.openxmlformats.org/officeDocument/2006/relationships/image" Target="../media/image16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4" Type="http://schemas.openxmlformats.org/officeDocument/2006/relationships/image" Target="../media/image17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5" Type="http://schemas.openxmlformats.org/officeDocument/2006/relationships/image" Target="../media/image19.jpeg"/><Relationship Id="rId4" Type="http://schemas.openxmlformats.org/officeDocument/2006/relationships/image" Target="../media/image18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5" Type="http://schemas.openxmlformats.org/officeDocument/2006/relationships/image" Target="../media/image20.tiff"/><Relationship Id="rId4" Type="http://schemas.openxmlformats.org/officeDocument/2006/relationships/image" Target="../media/image18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46514742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 bwMode="auto">
          <a:xfrm>
            <a:off x="764447" y="2040732"/>
            <a:ext cx="7851833" cy="812204"/>
          </a:xfrm>
        </p:spPr>
        <p:txBody>
          <a:bodyPr vert="horz" anchor="t">
            <a:normAutofit/>
          </a:bodyPr>
          <a:lstStyle/>
          <a:p>
            <a:pPr>
              <a:defRPr/>
            </a:pPr>
            <a:r>
              <a:rPr lang="de-DE" dirty="0">
                <a:latin typeface="Chakra Petch"/>
                <a:cs typeface="Chakra Petch"/>
              </a:rPr>
              <a:t>Digital Innovation – </a:t>
            </a:r>
            <a:r>
              <a:rPr lang="de-DE" dirty="0" err="1">
                <a:latin typeface="Chakra Petch"/>
                <a:cs typeface="Chakra Petch"/>
              </a:rPr>
              <a:t>Evaluate</a:t>
            </a:r>
            <a:endParaRPr dirty="0">
              <a:latin typeface="Chakra Petch"/>
              <a:cs typeface="Chakra Petch"/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auto">
          <a:xfrm>
            <a:off x="764447" y="2678233"/>
            <a:ext cx="4114851" cy="1366825"/>
          </a:xfrm>
        </p:spPr>
        <p:txBody>
          <a:bodyPr>
            <a:normAutofit/>
          </a:bodyPr>
          <a:lstStyle/>
          <a:p>
            <a:pPr>
              <a:defRPr/>
            </a:pPr>
            <a:endParaRPr lang="de-DE" dirty="0">
              <a:latin typeface="Lato Light"/>
              <a:ea typeface="Roboto Light"/>
              <a:cs typeface="Helvetica Neue Condensed Black"/>
            </a:endParaRPr>
          </a:p>
          <a:p>
            <a:pPr>
              <a:defRPr/>
            </a:pPr>
            <a:endParaRPr lang="de-DE" dirty="0">
              <a:latin typeface="Lato Light"/>
              <a:ea typeface="Roboto Light"/>
              <a:cs typeface="Helvetica Neue Condensed Black"/>
            </a:endParaRPr>
          </a:p>
          <a:p>
            <a:pPr>
              <a:defRPr/>
            </a:pPr>
            <a:r>
              <a:rPr lang="de-DE" dirty="0">
                <a:latin typeface="Lato Light"/>
                <a:ea typeface="Roboto Light"/>
                <a:cs typeface="Helvetica Neue Condensed Black"/>
              </a:rPr>
              <a:t>Prof. Dr. Markus Heckner</a:t>
            </a:r>
            <a:endParaRPr lang="de-DE" dirty="0">
              <a:latin typeface="Lato Light"/>
              <a:ea typeface="Roboto Light"/>
              <a:cs typeface="HELVETICA NEUE CONDENSED BLACK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C70912A-379B-DA7E-BA71-702DAF2F81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C70912A-379B-DA7E-BA71-702DAF2F81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A2A5946-1945-2F95-A221-95A4100D00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Beispiele</a:t>
            </a:r>
            <a:r>
              <a:rPr lang="en-GB" dirty="0"/>
              <a:t> für </a:t>
            </a:r>
            <a:r>
              <a:rPr lang="en-GB" dirty="0" err="1"/>
              <a:t>Prototypen</a:t>
            </a:r>
            <a:endParaRPr lang="en-GB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4A71E96-6900-8193-3A03-4FE7EB22EE6A}"/>
              </a:ext>
            </a:extLst>
          </p:cNvPr>
          <p:cNvSpPr txBox="1"/>
          <p:nvPr/>
        </p:nvSpPr>
        <p:spPr>
          <a:xfrm>
            <a:off x="536412" y="6463687"/>
            <a:ext cx="391806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Quelle: https://</a:t>
            </a:r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www.youtube.com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/</a:t>
            </a:r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watch?v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=GrV2SZuRPv0&amp;t=1s </a:t>
            </a:r>
          </a:p>
        </p:txBody>
      </p:sp>
      <p:pic>
        <p:nvPicPr>
          <p:cNvPr id="4" name="Hanmail Paper Prototype.m4v">
            <a:hlinkClick r:id="" action="ppaction://media"/>
            <a:extLst>
              <a:ext uri="{FF2B5EF4-FFF2-40B4-BE49-F238E27FC236}">
                <a16:creationId xmlns:a16="http://schemas.microsoft.com/office/drawing/2014/main" id="{28117A71-1A37-6FEC-8E7A-288E9C51CFA6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2660164" y="1225562"/>
            <a:ext cx="6230768" cy="4817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02443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  <p:video fullScrn="1"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C70912A-379B-DA7E-BA71-702DAF2F81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C70912A-379B-DA7E-BA71-702DAF2F81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A2A5946-1945-2F95-A221-95A4100D00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Beispiele</a:t>
            </a:r>
            <a:r>
              <a:rPr lang="en-GB" dirty="0"/>
              <a:t> für </a:t>
            </a:r>
            <a:r>
              <a:rPr lang="en-GB" dirty="0" err="1"/>
              <a:t>Prototypen</a:t>
            </a:r>
            <a:endParaRPr lang="en-GB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4A71E96-6900-8193-3A03-4FE7EB22EE6A}"/>
              </a:ext>
            </a:extLst>
          </p:cNvPr>
          <p:cNvSpPr txBox="1"/>
          <p:nvPr/>
        </p:nvSpPr>
        <p:spPr>
          <a:xfrm>
            <a:off x="536412" y="6463687"/>
            <a:ext cx="684193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ildquelle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: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 http://cuhsxov73uxte8o3fsfcl91m.wpengine.netdna-cdn.com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wp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-content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uploads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2015/10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Prototyping.jpg</a:t>
            </a:r>
            <a:endParaRPr lang="en-GB" sz="1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FCBF949-30FA-2AFF-C7E3-80063E05D46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2539" y="1400100"/>
            <a:ext cx="7115188" cy="4197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55126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C70912A-379B-DA7E-BA71-702DAF2F81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C70912A-379B-DA7E-BA71-702DAF2F81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A2A5946-1945-2F95-A221-95A4100D00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Beispiele</a:t>
            </a:r>
            <a:r>
              <a:rPr lang="en-GB" dirty="0"/>
              <a:t> für </a:t>
            </a:r>
            <a:r>
              <a:rPr lang="en-GB" dirty="0" err="1"/>
              <a:t>Prototypen</a:t>
            </a:r>
            <a:endParaRPr lang="en-GB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4A71E96-6900-8193-3A03-4FE7EB22EE6A}"/>
              </a:ext>
            </a:extLst>
          </p:cNvPr>
          <p:cNvSpPr txBox="1"/>
          <p:nvPr/>
        </p:nvSpPr>
        <p:spPr>
          <a:xfrm>
            <a:off x="536412" y="6463687"/>
            <a:ext cx="423064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ildquelle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: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 https:/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sidlaurea.files.wordpress.com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2013/10/img_2253.jpg</a:t>
            </a:r>
          </a:p>
          <a:p>
            <a:endParaRPr lang="en-GB" sz="1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74EB1AA-AED7-0B29-8E69-4CB26D88A7A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9083" y="1394233"/>
            <a:ext cx="5633689" cy="4207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050368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5F43A6-6FE7-6948-8814-CE53CE8DCF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Prototyping</a:t>
            </a:r>
            <a:r>
              <a:rPr lang="de-DE" dirty="0"/>
              <a:t> mit Scen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87E624-E9C5-8647-AF16-4F3D345814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Roboto Light"/>
                <a:ea typeface="+mn-ea"/>
                <a:cs typeface="Roboto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6EA1323-965C-0742-806D-06C14CDC1E0E}" type="slidenum">
              <a:rPr lang="de-DE" smtClean="0"/>
              <a:pPr/>
              <a:t>13</a:t>
            </a:fld>
            <a:endParaRPr lang="de-DE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5350724-EF7D-614A-B7F5-4E21CF82DF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792547"/>
            <a:ext cx="12192000" cy="3272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213870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E6C601-649D-394F-9410-626DD3B605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motionen mit Scen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87E18A4-BC0C-294F-A1C1-ED51CF7745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Roboto Light"/>
                <a:ea typeface="+mn-ea"/>
                <a:cs typeface="Roboto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6EA1323-965C-0742-806D-06C14CDC1E0E}" type="slidenum">
              <a:rPr lang="de-DE" smtClean="0"/>
              <a:pPr/>
              <a:t>14</a:t>
            </a:fld>
            <a:endParaRPr lang="de-DE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F6CD1ED-651B-2D4D-9175-08CC04FA81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" y="1098550"/>
            <a:ext cx="10934700" cy="4660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801379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Roboto Light"/>
                <a:ea typeface="+mn-ea"/>
                <a:cs typeface="Roboto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6EA1323-965C-0742-806D-06C14CDC1E0E}" type="slidenum">
              <a:rPr lang="de-DE" smtClean="0"/>
              <a:pPr/>
              <a:t>15</a:t>
            </a:fld>
            <a:endParaRPr lang="de-DE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46200" y="717550"/>
            <a:ext cx="9499600" cy="542290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346200" y="6311267"/>
            <a:ext cx="2932333" cy="36512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Quelle: Gould, Conti &amp; 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Hovanyecz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 (1983)</a:t>
            </a:r>
          </a:p>
        </p:txBody>
      </p:sp>
    </p:spTree>
    <p:extLst>
      <p:ext uri="{BB962C8B-B14F-4D97-AF65-F5344CB8AC3E}">
        <p14:creationId xmlns:p14="http://schemas.microsoft.com/office/powerpoint/2010/main" val="211491117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7875E05-CAB4-273E-A184-5CDFA95150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889176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7875E05-CAB4-273E-A184-5CDFA95150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84A631D-3A70-DDE2-1D2A-DB17DE135D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748" y="2636912"/>
            <a:ext cx="10515600" cy="410729"/>
          </a:xfrm>
        </p:spPr>
        <p:txBody>
          <a:bodyPr vert="horz"/>
          <a:lstStyle/>
          <a:p>
            <a:r>
              <a:rPr lang="de-DE" dirty="0"/>
              <a:t>Testen</a:t>
            </a:r>
          </a:p>
        </p:txBody>
      </p:sp>
    </p:spTree>
    <p:extLst>
      <p:ext uri="{BB962C8B-B14F-4D97-AF65-F5344CB8AC3E}">
        <p14:creationId xmlns:p14="http://schemas.microsoft.com/office/powerpoint/2010/main" val="370567534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334B01A-B38E-804C-8E94-3845B11DF7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Roboto Light"/>
                <a:ea typeface="+mn-ea"/>
                <a:cs typeface="Roboto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6EA1323-965C-0742-806D-06C14CDC1E0E}" type="slidenum">
              <a:rPr lang="de-DE" smtClean="0"/>
              <a:pPr/>
              <a:t>17</a:t>
            </a:fld>
            <a:endParaRPr lang="de-DE"/>
          </a:p>
        </p:txBody>
      </p:sp>
      <p:pic>
        <p:nvPicPr>
          <p:cNvPr id="6" name="Picture 2" descr="https://cdn-images-1.medium.com/max/800/0*E1u-16ZVajiUzi6F.png">
            <a:extLst>
              <a:ext uri="{FF2B5EF4-FFF2-40B4-BE49-F238E27FC236}">
                <a16:creationId xmlns:a16="http://schemas.microsoft.com/office/drawing/2014/main" id="{1352E54E-F486-5041-8CB7-7A411585CE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56385" y="1265186"/>
            <a:ext cx="8496944" cy="4248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2">
            <a:extLst>
              <a:ext uri="{FF2B5EF4-FFF2-40B4-BE49-F238E27FC236}">
                <a16:creationId xmlns:a16="http://schemas.microsoft.com/office/drawing/2014/main" id="{C7788629-99B8-CE4E-A365-87C4162F402F}"/>
              </a:ext>
            </a:extLst>
          </p:cNvPr>
          <p:cNvSpPr/>
          <p:nvPr/>
        </p:nvSpPr>
        <p:spPr>
          <a:xfrm>
            <a:off x="9301201" y="5521742"/>
            <a:ext cx="129073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David Travis</a:t>
            </a:r>
            <a:endParaRPr lang="en-US" sz="1600" dirty="0">
              <a:effectLst/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72578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5788B44-0AA9-3C2D-8A8F-F11BA87125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548863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85F2317-B4C4-FF3A-C131-E8FDC44F1D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Das Interview in 5 Akten (5 Act Interview)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6500FBA-22AF-6768-4469-32BC940C85A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457200" indent="-457200">
              <a:buFont typeface="+mj-lt"/>
              <a:buAutoNum type="arabicPeriod"/>
            </a:pPr>
            <a:r>
              <a:rPr lang="en-GB" dirty="0" err="1"/>
              <a:t>Freundliches</a:t>
            </a:r>
            <a:r>
              <a:rPr lang="en-GB" dirty="0"/>
              <a:t> </a:t>
            </a:r>
            <a:r>
              <a:rPr lang="en-GB" dirty="0" err="1"/>
              <a:t>Willkommen</a:t>
            </a:r>
            <a:r>
              <a:rPr lang="en-GB" dirty="0"/>
              <a:t> </a:t>
            </a:r>
            <a:r>
              <a:rPr lang="en-GB" dirty="0" err="1"/>
              <a:t>zu</a:t>
            </a:r>
            <a:r>
              <a:rPr lang="en-GB" dirty="0"/>
              <a:t> </a:t>
            </a:r>
            <a:r>
              <a:rPr lang="en-GB" dirty="0" err="1"/>
              <a:t>Beginn</a:t>
            </a:r>
            <a:r>
              <a:rPr lang="en-GB" dirty="0"/>
              <a:t> des Interviews</a:t>
            </a:r>
          </a:p>
          <a:p>
            <a:pPr marL="457200" indent="-457200">
              <a:buFont typeface="+mj-lt"/>
              <a:buAutoNum type="arabicPeriod"/>
            </a:pPr>
            <a:r>
              <a:rPr lang="en-GB" dirty="0"/>
              <a:t>Eine </a:t>
            </a:r>
            <a:r>
              <a:rPr lang="en-GB" dirty="0" err="1"/>
              <a:t>Reihe</a:t>
            </a:r>
            <a:r>
              <a:rPr lang="en-GB" dirty="0"/>
              <a:t> </a:t>
            </a:r>
            <a:r>
              <a:rPr lang="en-GB" dirty="0" err="1"/>
              <a:t>allgemeiner</a:t>
            </a:r>
            <a:r>
              <a:rPr lang="en-GB" dirty="0"/>
              <a:t>, </a:t>
            </a:r>
            <a:r>
              <a:rPr lang="en-GB" dirty="0" err="1"/>
              <a:t>offener</a:t>
            </a:r>
            <a:r>
              <a:rPr lang="en-GB" dirty="0"/>
              <a:t> </a:t>
            </a:r>
            <a:r>
              <a:rPr lang="en-GB" dirty="0" err="1"/>
              <a:t>Fragen</a:t>
            </a:r>
            <a:r>
              <a:rPr lang="en-GB" dirty="0"/>
              <a:t> </a:t>
            </a:r>
            <a:r>
              <a:rPr lang="en-GB" dirty="0" err="1"/>
              <a:t>zum</a:t>
            </a:r>
            <a:r>
              <a:rPr lang="en-GB" dirty="0"/>
              <a:t> </a:t>
            </a:r>
            <a:r>
              <a:rPr lang="en-GB" dirty="0" err="1"/>
              <a:t>Kontext</a:t>
            </a:r>
            <a:r>
              <a:rPr lang="en-GB" dirty="0"/>
              <a:t> des </a:t>
            </a:r>
            <a:r>
              <a:rPr lang="en-GB" dirty="0" err="1"/>
              <a:t>Nutzers</a:t>
            </a:r>
            <a:endParaRPr lang="en-GB" dirty="0"/>
          </a:p>
          <a:p>
            <a:pPr marL="457200" indent="-457200">
              <a:buFont typeface="+mj-lt"/>
              <a:buAutoNum type="arabicPeriod"/>
            </a:pPr>
            <a:r>
              <a:rPr lang="en-GB" dirty="0" err="1"/>
              <a:t>Einführung</a:t>
            </a:r>
            <a:r>
              <a:rPr lang="en-GB" dirty="0"/>
              <a:t> in den / die </a:t>
            </a:r>
            <a:r>
              <a:rPr lang="en-GB" dirty="0" err="1"/>
              <a:t>Prototypen</a:t>
            </a:r>
            <a:endParaRPr lang="en-GB" dirty="0"/>
          </a:p>
          <a:p>
            <a:pPr marL="457200" indent="-457200">
              <a:buFont typeface="+mj-lt"/>
              <a:buAutoNum type="arabicPeriod"/>
            </a:pPr>
            <a:r>
              <a:rPr lang="en-GB" dirty="0" err="1"/>
              <a:t>Detaillierte</a:t>
            </a:r>
            <a:r>
              <a:rPr lang="en-GB" dirty="0"/>
              <a:t> </a:t>
            </a:r>
            <a:r>
              <a:rPr lang="en-GB" dirty="0" err="1"/>
              <a:t>Aufgaben</a:t>
            </a:r>
            <a:r>
              <a:rPr lang="en-GB" dirty="0"/>
              <a:t> (</a:t>
            </a:r>
            <a:r>
              <a:rPr lang="en-GB" dirty="0" err="1"/>
              <a:t>Szenarien</a:t>
            </a:r>
            <a:r>
              <a:rPr lang="en-GB" dirty="0"/>
              <a:t>) um den </a:t>
            </a:r>
            <a:r>
              <a:rPr lang="en-GB" dirty="0" err="1"/>
              <a:t>Nutzer</a:t>
            </a:r>
            <a:r>
              <a:rPr lang="en-GB" dirty="0"/>
              <a:t> </a:t>
            </a:r>
            <a:r>
              <a:rPr lang="en-GB" dirty="0" err="1"/>
              <a:t>mit</a:t>
            </a:r>
            <a:r>
              <a:rPr lang="en-GB" dirty="0"/>
              <a:t> </a:t>
            </a:r>
            <a:r>
              <a:rPr lang="en-GB" dirty="0" err="1"/>
              <a:t>dem</a:t>
            </a:r>
            <a:r>
              <a:rPr lang="en-GB" dirty="0"/>
              <a:t> </a:t>
            </a:r>
            <a:r>
              <a:rPr lang="en-GB" dirty="0" err="1"/>
              <a:t>Prototyp</a:t>
            </a:r>
            <a:r>
              <a:rPr lang="en-GB" dirty="0"/>
              <a:t> </a:t>
            </a:r>
            <a:r>
              <a:rPr lang="en-GB" dirty="0" err="1"/>
              <a:t>interagieren</a:t>
            </a:r>
            <a:r>
              <a:rPr lang="en-GB" dirty="0"/>
              <a:t> </a:t>
            </a:r>
            <a:r>
              <a:rPr lang="en-GB" dirty="0" err="1"/>
              <a:t>zu</a:t>
            </a:r>
            <a:r>
              <a:rPr lang="en-GB" dirty="0"/>
              <a:t> </a:t>
            </a:r>
            <a:r>
              <a:rPr lang="en-GB" dirty="0" err="1"/>
              <a:t>lassen</a:t>
            </a:r>
            <a:endParaRPr lang="en-GB" dirty="0"/>
          </a:p>
          <a:p>
            <a:pPr marL="457200" indent="-457200">
              <a:buFont typeface="+mj-lt"/>
              <a:buAutoNum type="arabicPeriod"/>
            </a:pPr>
            <a:r>
              <a:rPr lang="en-GB" dirty="0" err="1"/>
              <a:t>Kurzes</a:t>
            </a:r>
            <a:r>
              <a:rPr lang="en-GB" dirty="0"/>
              <a:t> Debriefing um </a:t>
            </a:r>
            <a:r>
              <a:rPr lang="en-GB" dirty="0" err="1"/>
              <a:t>allgemeine</a:t>
            </a:r>
            <a:r>
              <a:rPr lang="en-GB" dirty="0"/>
              <a:t> </a:t>
            </a:r>
            <a:r>
              <a:rPr lang="en-GB" dirty="0" err="1"/>
              <a:t>Eindrücke</a:t>
            </a:r>
            <a:r>
              <a:rPr lang="en-GB" dirty="0"/>
              <a:t> und </a:t>
            </a:r>
            <a:r>
              <a:rPr lang="en-GB" dirty="0" err="1"/>
              <a:t>Gedanken</a:t>
            </a:r>
            <a:r>
              <a:rPr lang="en-GB" dirty="0"/>
              <a:t> des </a:t>
            </a:r>
            <a:r>
              <a:rPr lang="en-GB" dirty="0" err="1"/>
              <a:t>Nutzers</a:t>
            </a:r>
            <a:r>
              <a:rPr lang="en-GB" dirty="0"/>
              <a:t> </a:t>
            </a:r>
            <a:r>
              <a:rPr lang="en-GB" dirty="0" err="1"/>
              <a:t>zu</a:t>
            </a:r>
            <a:r>
              <a:rPr lang="en-GB" dirty="0"/>
              <a:t> </a:t>
            </a:r>
            <a:r>
              <a:rPr lang="en-GB" dirty="0" err="1"/>
              <a:t>erfahren</a:t>
            </a:r>
            <a:endParaRPr lang="en-GB" dirty="0"/>
          </a:p>
          <a:p>
            <a:endParaRPr lang="en-DE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96B1993-077B-3E9D-81A0-5B4D926E4EE5}"/>
              </a:ext>
            </a:extLst>
          </p:cNvPr>
          <p:cNvSpPr txBox="1"/>
          <p:nvPr/>
        </p:nvSpPr>
        <p:spPr>
          <a:xfrm>
            <a:off x="543347" y="6237312"/>
            <a:ext cx="914400" cy="91440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Quelle: Knapp (2016)</a:t>
            </a:r>
          </a:p>
        </p:txBody>
      </p:sp>
    </p:spTree>
    <p:extLst>
      <p:ext uri="{BB962C8B-B14F-4D97-AF65-F5344CB8AC3E}">
        <p14:creationId xmlns:p14="http://schemas.microsoft.com/office/powerpoint/2010/main" val="345207920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F0584D8-E865-D3CC-1B01-BAE7D6BCBC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036248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86F4136-9685-93CF-1595-64381175F0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Think Alou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22F6A2-524F-97FC-2C4C-D1327FD83EA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DE" dirty="0"/>
              <a:t>Testpersonen sollen Gedanken während des Tests laut aussprechen</a:t>
            </a:r>
          </a:p>
          <a:p>
            <a:r>
              <a:rPr lang="en-DE" dirty="0"/>
              <a:t>Durch Verbalisierung erfährt das Team mehr über die Geanken der Testpersone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57F0D6F-8D10-44B0-B17C-2754A61DA4B1}"/>
              </a:ext>
            </a:extLst>
          </p:cNvPr>
          <p:cNvSpPr txBox="1"/>
          <p:nvPr/>
        </p:nvSpPr>
        <p:spPr>
          <a:xfrm>
            <a:off x="536412" y="6463687"/>
            <a:ext cx="466986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Quelle: https://</a:t>
            </a:r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www.nngroup.com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/articles/thinking-aloud-the-1-usability-tool/</a:t>
            </a:r>
          </a:p>
        </p:txBody>
      </p:sp>
    </p:spTree>
    <p:extLst>
      <p:ext uri="{BB962C8B-B14F-4D97-AF65-F5344CB8AC3E}">
        <p14:creationId xmlns:p14="http://schemas.microsoft.com/office/powerpoint/2010/main" val="33612897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 bwMode="auto">
          <a:xfrm>
            <a:off x="-96689" y="1052736"/>
            <a:ext cx="5040549" cy="576064"/>
          </a:xfrm>
          <a:prstGeom prst="rect">
            <a:avLst/>
          </a:prstGeom>
          <a:solidFill>
            <a:srgbClr val="C6E4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de-DE"/>
              <a:t>Agenda </a:t>
            </a:r>
            <a:endParaRPr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7" y="1111183"/>
            <a:ext cx="6700737" cy="4911547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de-DE" dirty="0"/>
              <a:t>Überblick Phase </a:t>
            </a:r>
            <a:r>
              <a:rPr lang="de-DE" dirty="0" err="1"/>
              <a:t>Evaluate</a:t>
            </a:r>
            <a:endParaRPr lang="de-DE" dirty="0"/>
          </a:p>
          <a:p>
            <a:pPr>
              <a:defRPr/>
            </a:pPr>
            <a:r>
              <a:rPr lang="de-DE" dirty="0"/>
              <a:t>Methoden</a:t>
            </a:r>
          </a:p>
          <a:p>
            <a:pPr>
              <a:defRPr/>
            </a:pPr>
            <a:r>
              <a:rPr lang="de-DE" dirty="0"/>
              <a:t>Fazit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</p:txBody>
      </p:sp>
      <p:cxnSp>
        <p:nvCxnSpPr>
          <p:cNvPr id="6" name="Gerader Verbinder 5"/>
          <p:cNvCxnSpPr>
            <a:cxnSpLocks/>
          </p:cNvCxnSpPr>
          <p:nvPr/>
        </p:nvCxnSpPr>
        <p:spPr bwMode="auto">
          <a:xfrm>
            <a:off x="263352" y="-27384"/>
            <a:ext cx="0" cy="6957392"/>
          </a:xfrm>
          <a:prstGeom prst="line">
            <a:avLst/>
          </a:prstGeom>
          <a:ln w="57150">
            <a:solidFill>
              <a:srgbClr val="3B9C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eedback </a:t>
            </a:r>
            <a:r>
              <a:rPr lang="de-DE" dirty="0" err="1"/>
              <a:t>Grid</a:t>
            </a:r>
            <a:r>
              <a:rPr lang="de-DE" dirty="0"/>
              <a:t> und Interak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Roboto Light"/>
                <a:ea typeface="+mn-ea"/>
                <a:cs typeface="Roboto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6EA1323-965C-0742-806D-06C14CDC1E0E}" type="slidenum">
              <a:rPr lang="de-DE" smtClean="0"/>
              <a:pPr/>
              <a:t>20</a:t>
            </a:fld>
            <a:endParaRPr lang="de-DE"/>
          </a:p>
        </p:txBody>
      </p:sp>
      <p:grpSp>
        <p:nvGrpSpPr>
          <p:cNvPr id="12" name="Group 11"/>
          <p:cNvGrpSpPr/>
          <p:nvPr/>
        </p:nvGrpSpPr>
        <p:grpSpPr>
          <a:xfrm>
            <a:off x="3404382" y="1028502"/>
            <a:ext cx="5020607" cy="5020607"/>
            <a:chOff x="3996784" y="1603718"/>
            <a:chExt cx="4276578" cy="4276578"/>
          </a:xfrm>
        </p:grpSpPr>
        <p:cxnSp>
          <p:nvCxnSpPr>
            <p:cNvPr id="9" name="Straight Connector 8"/>
            <p:cNvCxnSpPr/>
            <p:nvPr/>
          </p:nvCxnSpPr>
          <p:spPr>
            <a:xfrm>
              <a:off x="6135073" y="1603718"/>
              <a:ext cx="0" cy="4276578"/>
            </a:xfrm>
            <a:prstGeom prst="line">
              <a:avLst/>
            </a:prstGeom>
            <a:ln w="3810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rot="5400000">
              <a:off x="6135073" y="1603718"/>
              <a:ext cx="0" cy="4276578"/>
            </a:xfrm>
            <a:prstGeom prst="line">
              <a:avLst/>
            </a:prstGeom>
            <a:ln w="3810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TextBox 10"/>
          <p:cNvSpPr txBox="1"/>
          <p:nvPr/>
        </p:nvSpPr>
        <p:spPr>
          <a:xfrm>
            <a:off x="3404382" y="2799471"/>
            <a:ext cx="914400" cy="91440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endParaRPr lang="de-DE" sz="1600" dirty="0">
              <a:latin typeface="Roboto Light" charset="0"/>
              <a:ea typeface="Roboto Light" charset="0"/>
              <a:cs typeface="Roboto Light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502856" y="2049489"/>
            <a:ext cx="1860451" cy="43609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de-DE" dirty="0">
                <a:latin typeface="Roboto Light" charset="0"/>
                <a:ea typeface="Roboto Light" charset="0"/>
                <a:cs typeface="Roboto Light" charset="0"/>
              </a:rPr>
              <a:t>Was hat funktioniert?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165949" y="2049489"/>
            <a:ext cx="1860451" cy="43609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de-DE" dirty="0">
                <a:latin typeface="Roboto Light" charset="0"/>
                <a:ea typeface="Roboto Light" charset="0"/>
                <a:cs typeface="Roboto Light" charset="0"/>
              </a:rPr>
              <a:t>Was könnte verbessert werden?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502856" y="4314875"/>
            <a:ext cx="1860451" cy="43609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de-DE" dirty="0">
                <a:latin typeface="Roboto Light" charset="0"/>
                <a:ea typeface="Roboto Light" charset="0"/>
                <a:cs typeface="Roboto Light" charset="0"/>
              </a:rPr>
              <a:t>Welche offenen Fragen stehen noch im Raum?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6174353" y="4314875"/>
            <a:ext cx="1860451" cy="43609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de-DE" dirty="0">
                <a:latin typeface="Roboto Light" charset="0"/>
                <a:ea typeface="Roboto Light" charset="0"/>
                <a:cs typeface="Roboto Light" charset="0"/>
              </a:rPr>
              <a:t>Gibt es neue Ideen?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8661012" y="5807076"/>
            <a:ext cx="4670474" cy="91440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de-DE" sz="1200" dirty="0">
                <a:latin typeface="Roboto Light" charset="0"/>
                <a:ea typeface="Roboto Light" charset="0"/>
                <a:cs typeface="Roboto Light" charset="0"/>
              </a:rPr>
              <a:t>Das Template erlaubt es das aus den Tests</a:t>
            </a:r>
          </a:p>
          <a:p>
            <a:r>
              <a:rPr lang="de-DE" sz="1200" dirty="0">
                <a:latin typeface="Roboto Light" charset="0"/>
                <a:ea typeface="Roboto Light" charset="0"/>
                <a:cs typeface="Roboto Light" charset="0"/>
              </a:rPr>
              <a:t>erhaltene Feedback zu strukturieren, um es für die</a:t>
            </a:r>
          </a:p>
          <a:p>
            <a:r>
              <a:rPr lang="de-DE" sz="1200" dirty="0">
                <a:latin typeface="Roboto Light" charset="0"/>
                <a:ea typeface="Roboto Light" charset="0"/>
                <a:cs typeface="Roboto Light" charset="0"/>
              </a:rPr>
              <a:t>weitere Arbeit zu dokumentieren.</a:t>
            </a:r>
          </a:p>
        </p:txBody>
      </p:sp>
    </p:spTree>
    <p:extLst>
      <p:ext uri="{BB962C8B-B14F-4D97-AF65-F5344CB8AC3E}">
        <p14:creationId xmlns:p14="http://schemas.microsoft.com/office/powerpoint/2010/main" val="339891535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7875E05-CAB4-273E-A184-5CDFA95150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02228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7875E05-CAB4-273E-A184-5CDFA95150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84A631D-3A70-DDE2-1D2A-DB17DE135D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748" y="2636912"/>
            <a:ext cx="10515600" cy="410729"/>
          </a:xfrm>
        </p:spPr>
        <p:txBody>
          <a:bodyPr vert="horz"/>
          <a:lstStyle/>
          <a:p>
            <a:r>
              <a:rPr lang="de-DE" dirty="0"/>
              <a:t>Business Model Canvas</a:t>
            </a:r>
          </a:p>
        </p:txBody>
      </p:sp>
    </p:spTree>
    <p:extLst>
      <p:ext uri="{BB962C8B-B14F-4D97-AF65-F5344CB8AC3E}">
        <p14:creationId xmlns:p14="http://schemas.microsoft.com/office/powerpoint/2010/main" val="266285119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3578E86-4F51-54FF-63AA-757B34B1752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386964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AB64BFA-9B00-8657-766C-CDA733AD7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Business Model Canva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CCE78A-7807-61B2-3E39-6B2E461B86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/>
          </a:p>
          <a:p>
            <a:pPr marL="0" indent="0">
              <a:buNone/>
            </a:pPr>
            <a:r>
              <a:rPr lang="en-GB" dirty="0"/>
              <a:t>Das </a:t>
            </a:r>
            <a:r>
              <a:rPr lang="en-GB" dirty="0" err="1"/>
              <a:t>Geschäftsmodell</a:t>
            </a:r>
            <a:r>
              <a:rPr lang="en-GB" dirty="0"/>
              <a:t> (Business Model) </a:t>
            </a:r>
            <a:r>
              <a:rPr lang="en-GB" dirty="0" err="1"/>
              <a:t>einer</a:t>
            </a:r>
            <a:r>
              <a:rPr lang="en-GB" dirty="0"/>
              <a:t> Idee / </a:t>
            </a:r>
            <a:r>
              <a:rPr lang="en-GB" dirty="0" err="1"/>
              <a:t>eines</a:t>
            </a:r>
            <a:r>
              <a:rPr lang="en-GB" dirty="0"/>
              <a:t> </a:t>
            </a:r>
            <a:r>
              <a:rPr lang="en-GB" dirty="0" err="1"/>
              <a:t>Startups</a:t>
            </a:r>
            <a:r>
              <a:rPr lang="en-GB" dirty="0"/>
              <a:t> / </a:t>
            </a:r>
            <a:r>
              <a:rPr lang="en-GB" dirty="0" err="1"/>
              <a:t>eines</a:t>
            </a:r>
            <a:r>
              <a:rPr lang="en-GB" dirty="0"/>
              <a:t> </a:t>
            </a:r>
            <a:r>
              <a:rPr lang="en-GB" dirty="0" err="1"/>
              <a:t>Unternehmens</a:t>
            </a:r>
            <a:r>
              <a:rPr lang="en-GB" dirty="0"/>
              <a:t> </a:t>
            </a:r>
            <a:r>
              <a:rPr lang="en-GB" dirty="0" err="1"/>
              <a:t>beschreibt</a:t>
            </a:r>
            <a:r>
              <a:rPr lang="en-GB" dirty="0"/>
              <a:t>, </a:t>
            </a:r>
            <a:r>
              <a:rPr lang="en-GB" dirty="0" err="1"/>
              <a:t>welche</a:t>
            </a:r>
            <a:r>
              <a:rPr lang="en-GB" dirty="0"/>
              <a:t> </a:t>
            </a:r>
            <a:r>
              <a:rPr lang="en-GB" dirty="0" err="1"/>
              <a:t>Ressourcen</a:t>
            </a:r>
            <a:r>
              <a:rPr lang="en-GB" dirty="0"/>
              <a:t> für die </a:t>
            </a:r>
            <a:r>
              <a:rPr lang="en-GB" dirty="0" err="1"/>
              <a:t>Entwicklung</a:t>
            </a:r>
            <a:r>
              <a:rPr lang="en-GB" dirty="0"/>
              <a:t> </a:t>
            </a:r>
            <a:r>
              <a:rPr lang="en-GB" dirty="0" err="1"/>
              <a:t>eines</a:t>
            </a:r>
            <a:r>
              <a:rPr lang="en-GB" dirty="0"/>
              <a:t> (</a:t>
            </a:r>
            <a:r>
              <a:rPr lang="en-GB" dirty="0" err="1"/>
              <a:t>digitalen</a:t>
            </a:r>
            <a:r>
              <a:rPr lang="en-GB" dirty="0"/>
              <a:t>) </a:t>
            </a:r>
            <a:r>
              <a:rPr lang="en-GB" dirty="0" err="1"/>
              <a:t>Produkts</a:t>
            </a:r>
            <a:r>
              <a:rPr lang="en-GB" dirty="0"/>
              <a:t> / </a:t>
            </a:r>
            <a:r>
              <a:rPr lang="en-GB" dirty="0" err="1"/>
              <a:t>einer</a:t>
            </a:r>
            <a:r>
              <a:rPr lang="en-GB" dirty="0"/>
              <a:t> </a:t>
            </a:r>
            <a:r>
              <a:rPr lang="en-GB" dirty="0" err="1"/>
              <a:t>Dienstleistung</a:t>
            </a:r>
            <a:r>
              <a:rPr lang="en-GB" dirty="0"/>
              <a:t> </a:t>
            </a:r>
            <a:r>
              <a:rPr lang="en-GB" dirty="0" err="1"/>
              <a:t>aufgebracht</a:t>
            </a:r>
            <a:r>
              <a:rPr lang="en-GB" dirty="0"/>
              <a:t> </a:t>
            </a:r>
            <a:r>
              <a:rPr lang="en-GB" dirty="0" err="1"/>
              <a:t>werden</a:t>
            </a:r>
            <a:r>
              <a:rPr lang="en-GB" dirty="0"/>
              <a:t> </a:t>
            </a:r>
            <a:r>
              <a:rPr lang="en-GB" dirty="0" err="1"/>
              <a:t>müssen</a:t>
            </a:r>
            <a:r>
              <a:rPr lang="en-GB" dirty="0"/>
              <a:t>, und </a:t>
            </a:r>
            <a:r>
              <a:rPr lang="en-GB" dirty="0" err="1"/>
              <a:t>wie</a:t>
            </a:r>
            <a:r>
              <a:rPr lang="en-GB" dirty="0"/>
              <a:t> </a:t>
            </a:r>
            <a:r>
              <a:rPr lang="en-GB" dirty="0" err="1"/>
              <a:t>diese</a:t>
            </a:r>
            <a:r>
              <a:rPr lang="en-GB" dirty="0"/>
              <a:t> an die </a:t>
            </a:r>
            <a:r>
              <a:rPr lang="en-GB" dirty="0" err="1"/>
              <a:t>Kunden</a:t>
            </a:r>
            <a:r>
              <a:rPr lang="en-GB" dirty="0"/>
              <a:t> </a:t>
            </a:r>
            <a:r>
              <a:rPr lang="en-GB" dirty="0" err="1"/>
              <a:t>gebracht</a:t>
            </a:r>
            <a:r>
              <a:rPr lang="en-GB" dirty="0"/>
              <a:t> </a:t>
            </a:r>
            <a:r>
              <a:rPr lang="en-GB" dirty="0" err="1"/>
              <a:t>werden</a:t>
            </a:r>
            <a:r>
              <a:rPr lang="en-GB" dirty="0"/>
              <a:t> </a:t>
            </a:r>
            <a:r>
              <a:rPr lang="en-GB" dirty="0" err="1"/>
              <a:t>soll</a:t>
            </a:r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38862378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CC94B1-8422-E14D-39D3-64C13D64A2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3D72108-2749-D936-F276-26CA38E4DF8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DE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AA43AD3-1695-197B-CE69-3CBEF095EF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4412" y="3222"/>
            <a:ext cx="10167937" cy="6878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136740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D8A5F6A-CB9D-C13A-16F0-661A3E6BA5F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535047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ED5E3AD-80B8-09DA-5E0E-E535AE1873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Gro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0393A7-D015-E79A-E910-4E8ABF4560A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CFDDD9E-DFC9-F5AF-77BB-C8516100243E}"/>
              </a:ext>
            </a:extLst>
          </p:cNvPr>
          <p:cNvSpPr txBox="1"/>
          <p:nvPr/>
        </p:nvSpPr>
        <p:spPr>
          <a:xfrm>
            <a:off x="536412" y="6463687"/>
            <a:ext cx="580479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ildquelle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: 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https:/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projecthub.arduino.cc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Arduino_Genuino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0ab3c89e-4d14-4c07-8d20-f179f5d841f2</a:t>
            </a:r>
            <a:endParaRPr lang="en-GB" sz="1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3076" name="Picture 4" descr="Plant Communicator Arduino">
            <a:extLst>
              <a:ext uri="{FF2B5EF4-FFF2-40B4-BE49-F238E27FC236}">
                <a16:creationId xmlns:a16="http://schemas.microsoft.com/office/drawing/2014/main" id="{E81949F5-5F5D-68C4-EF4C-FAB4E1327F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4828" y="1146059"/>
            <a:ext cx="5382344" cy="40367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9018967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AC0941C-E983-DF81-2D0F-5ECDEE92C52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284804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5DA362D9-7419-D427-D550-CA6B48AAB5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287BBDF-3E66-59A1-5B5D-6CF3F0219F1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DE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7087AAA-02DB-4F5F-255F-522C2ADFC2E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14412" y="3222"/>
            <a:ext cx="10167937" cy="687802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86D864D-28DE-0BD4-B41D-B591DCA455D8}"/>
              </a:ext>
            </a:extLst>
          </p:cNvPr>
          <p:cNvSpPr txBox="1"/>
          <p:nvPr/>
        </p:nvSpPr>
        <p:spPr>
          <a:xfrm>
            <a:off x="5872163" y="23083"/>
            <a:ext cx="7489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Grow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D1967BE-9E8C-32CD-0F66-96E1D0AA4426}"/>
              </a:ext>
            </a:extLst>
          </p:cNvPr>
          <p:cNvSpPr txBox="1"/>
          <p:nvPr/>
        </p:nvSpPr>
        <p:spPr>
          <a:xfrm>
            <a:off x="5313456" y="1511556"/>
            <a:ext cx="156508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Pflanzen, zuhause, auch wenn ich keine Ahnung habe oder nicht daheim bi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A6ACE8C-EAE2-A61B-9B13-942AF8B7BEB3}"/>
              </a:ext>
            </a:extLst>
          </p:cNvPr>
          <p:cNvSpPr txBox="1"/>
          <p:nvPr/>
        </p:nvSpPr>
        <p:spPr>
          <a:xfrm>
            <a:off x="7051769" y="953869"/>
            <a:ext cx="156508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Self service,</a:t>
            </a:r>
          </a:p>
          <a:p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Chatbo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8676A47-D949-601C-6D82-EC7913626694}"/>
              </a:ext>
            </a:extLst>
          </p:cNvPr>
          <p:cNvSpPr txBox="1"/>
          <p:nvPr/>
        </p:nvSpPr>
        <p:spPr>
          <a:xfrm>
            <a:off x="9091893" y="953869"/>
            <a:ext cx="156508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Menschen,</a:t>
            </a:r>
          </a:p>
          <a:p>
            <a:r>
              <a:rPr lang="en-GB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</a:t>
            </a:r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ie sich Pflanzen wünschen, aber keine Ahnung habe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596324F-35BB-B615-1485-12B8325C700B}"/>
              </a:ext>
            </a:extLst>
          </p:cNvPr>
          <p:cNvSpPr txBox="1"/>
          <p:nvPr/>
        </p:nvSpPr>
        <p:spPr>
          <a:xfrm>
            <a:off x="9091892" y="3107551"/>
            <a:ext cx="156508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Pflanzenlieb-</a:t>
            </a:r>
            <a:r>
              <a:rPr lang="de-DE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aber</a:t>
            </a:r>
            <a:r>
              <a:rPr lang="de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, die selten zuhause sind</a:t>
            </a:r>
            <a:endParaRPr lang="en-DE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331B1A6-A4F3-CBAB-C4F9-714198139BFE}"/>
              </a:ext>
            </a:extLst>
          </p:cNvPr>
          <p:cNvSpPr txBox="1"/>
          <p:nvPr/>
        </p:nvSpPr>
        <p:spPr>
          <a:xfrm>
            <a:off x="7051769" y="2942716"/>
            <a:ext cx="156508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irekt - Hardware</a:t>
            </a:r>
            <a:endParaRPr lang="en-DE" sz="14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091AD5D-0C40-A09A-376B-05C9B9372120}"/>
              </a:ext>
            </a:extLst>
          </p:cNvPr>
          <p:cNvSpPr txBox="1"/>
          <p:nvPr/>
        </p:nvSpPr>
        <p:spPr>
          <a:xfrm>
            <a:off x="7051769" y="3589977"/>
            <a:ext cx="156508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Indirekt über Partner – Pflanzen und Dünger</a:t>
            </a:r>
            <a:endParaRPr lang="en-DE" sz="14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BBF3E2C-BEE8-1F90-A07C-D0069460A405}"/>
              </a:ext>
            </a:extLst>
          </p:cNvPr>
          <p:cNvSpPr txBox="1"/>
          <p:nvPr/>
        </p:nvSpPr>
        <p:spPr>
          <a:xfrm>
            <a:off x="3273332" y="1000035"/>
            <a:ext cx="156508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Entwicklung Hardware und Software (App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5187A72-9A2A-7DC5-BA70-37443267FCC8}"/>
              </a:ext>
            </a:extLst>
          </p:cNvPr>
          <p:cNvSpPr txBox="1"/>
          <p:nvPr/>
        </p:nvSpPr>
        <p:spPr>
          <a:xfrm>
            <a:off x="3273332" y="3081216"/>
            <a:ext cx="156508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ard- und Software-Entwickle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1027589-B8DB-84CB-6A44-75196EDB720A}"/>
              </a:ext>
            </a:extLst>
          </p:cNvPr>
          <p:cNvSpPr txBox="1"/>
          <p:nvPr/>
        </p:nvSpPr>
        <p:spPr>
          <a:xfrm>
            <a:off x="1524000" y="4947625"/>
            <a:ext cx="15650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Löhn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1A0AAC3-F7E9-91E5-3212-438A2CC64370}"/>
              </a:ext>
            </a:extLst>
          </p:cNvPr>
          <p:cNvSpPr txBox="1"/>
          <p:nvPr/>
        </p:nvSpPr>
        <p:spPr>
          <a:xfrm>
            <a:off x="6095999" y="4977112"/>
            <a:ext cx="156508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Verkauf Sensoren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B9456FE-F545-8BAF-0F29-76CEEB009F6F}"/>
              </a:ext>
            </a:extLst>
          </p:cNvPr>
          <p:cNvSpPr txBox="1"/>
          <p:nvPr/>
        </p:nvSpPr>
        <p:spPr>
          <a:xfrm>
            <a:off x="7834312" y="4808452"/>
            <a:ext cx="156508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Share beim Verkauf der Pflanzen und Dünge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80A8FFA-3443-8DBB-0219-9B09B4FC0966}"/>
              </a:ext>
            </a:extLst>
          </p:cNvPr>
          <p:cNvSpPr txBox="1"/>
          <p:nvPr/>
        </p:nvSpPr>
        <p:spPr>
          <a:xfrm>
            <a:off x="1427539" y="1260692"/>
            <a:ext cx="156508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Substral für Dünger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60347FE-C15E-7FBB-3014-C6AC04616A7D}"/>
              </a:ext>
            </a:extLst>
          </p:cNvPr>
          <p:cNvSpPr txBox="1"/>
          <p:nvPr/>
        </p:nvSpPr>
        <p:spPr>
          <a:xfrm>
            <a:off x="1444814" y="1970744"/>
            <a:ext cx="156508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ehner für Pflanzen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841CE0F-5576-0D7F-E489-7807CD8D0750}"/>
              </a:ext>
            </a:extLst>
          </p:cNvPr>
          <p:cNvSpPr txBox="1"/>
          <p:nvPr/>
        </p:nvSpPr>
        <p:spPr>
          <a:xfrm>
            <a:off x="1444813" y="2737003"/>
            <a:ext cx="156508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ardwareherstellung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9B0C944-355D-5445-F5D8-EEE6F99E8884}"/>
              </a:ext>
            </a:extLst>
          </p:cNvPr>
          <p:cNvSpPr txBox="1"/>
          <p:nvPr/>
        </p:nvSpPr>
        <p:spPr>
          <a:xfrm>
            <a:off x="1524000" y="5408616"/>
            <a:ext cx="25573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Entwicklungskosten Hardware</a:t>
            </a:r>
          </a:p>
        </p:txBody>
      </p:sp>
    </p:spTree>
    <p:extLst>
      <p:ext uri="{BB962C8B-B14F-4D97-AF65-F5344CB8AC3E}">
        <p14:creationId xmlns:p14="http://schemas.microsoft.com/office/powerpoint/2010/main" val="34590143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  <p:bldP spid="11" grpId="0"/>
      <p:bldP spid="12" grpId="0"/>
      <p:bldP spid="13" grpId="0"/>
      <p:bldP spid="14" grpId="0"/>
      <p:bldP spid="15" grpId="0"/>
      <p:bldP spid="17" grpId="0"/>
      <p:bldP spid="18" grpId="0"/>
      <p:bldP spid="19" grpId="0"/>
      <p:bldP spid="20" grpId="0"/>
      <p:bldP spid="21" grpId="0"/>
      <p:bldP spid="22" grpId="0"/>
      <p:bldP spid="24" grpId="0"/>
      <p:bldP spid="25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 bwMode="auto">
          <a:xfrm>
            <a:off x="-96689" y="2060848"/>
            <a:ext cx="5040549" cy="576064"/>
          </a:xfrm>
          <a:prstGeom prst="rect">
            <a:avLst/>
          </a:prstGeom>
          <a:solidFill>
            <a:srgbClr val="C6E4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de-DE"/>
              <a:t>Agenda </a:t>
            </a:r>
            <a:endParaRPr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7" y="1111183"/>
            <a:ext cx="6700737" cy="4911547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de-DE" dirty="0"/>
              <a:t>Überblick Create-Modul</a:t>
            </a:r>
          </a:p>
          <a:p>
            <a:pPr>
              <a:defRPr/>
            </a:pPr>
            <a:r>
              <a:rPr lang="de-DE" dirty="0"/>
              <a:t>Methoden</a:t>
            </a:r>
          </a:p>
          <a:p>
            <a:pPr>
              <a:defRPr/>
            </a:pPr>
            <a:r>
              <a:rPr lang="de-DE" dirty="0"/>
              <a:t>Fazit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</p:txBody>
      </p:sp>
      <p:cxnSp>
        <p:nvCxnSpPr>
          <p:cNvPr id="6" name="Gerader Verbinder 5"/>
          <p:cNvCxnSpPr>
            <a:cxnSpLocks/>
          </p:cNvCxnSpPr>
          <p:nvPr/>
        </p:nvCxnSpPr>
        <p:spPr bwMode="auto">
          <a:xfrm>
            <a:off x="263352" y="-27384"/>
            <a:ext cx="0" cy="6957392"/>
          </a:xfrm>
          <a:prstGeom prst="line">
            <a:avLst/>
          </a:prstGeom>
          <a:ln w="57150">
            <a:solidFill>
              <a:srgbClr val="3B9C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808440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4E45416-F02B-4DB0-FB5B-F931A27140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730461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B3CC7E6-A849-AE10-A60B-22FCA8884C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Fazit - </a:t>
            </a:r>
            <a:r>
              <a:rPr lang="de-DE" dirty="0" err="1"/>
              <a:t>Evaluate</a:t>
            </a:r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0B30B2-02AA-9859-3F19-5D6FA25EE46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In der Phase </a:t>
            </a:r>
            <a:r>
              <a:rPr lang="de-DE" dirty="0" err="1"/>
              <a:t>Evaluate</a:t>
            </a:r>
            <a:r>
              <a:rPr lang="de-DE" dirty="0"/>
              <a:t> entwickelt das Team einen Prototypen der Idee und testet diesen mit Nutzern</a:t>
            </a:r>
          </a:p>
          <a:p>
            <a:r>
              <a:rPr lang="de-DE" dirty="0"/>
              <a:t>Das Geschäftsmodell kann mithilfe des Business Model Canvas entwickelt und bewertet werden</a:t>
            </a:r>
          </a:p>
          <a:p>
            <a:r>
              <a:rPr lang="de-DE" dirty="0"/>
              <a:t>Die Erkenntnisse aus der Phase </a:t>
            </a:r>
            <a:r>
              <a:rPr lang="de-DE" dirty="0" err="1"/>
              <a:t>Evaluate</a:t>
            </a:r>
            <a:r>
              <a:rPr lang="de-DE" dirty="0"/>
              <a:t> können zu Rückspringen in frühere Phasen führen (Iteration)</a:t>
            </a:r>
          </a:p>
        </p:txBody>
      </p:sp>
    </p:spTree>
    <p:extLst>
      <p:ext uri="{BB962C8B-B14F-4D97-AF65-F5344CB8AC3E}">
        <p14:creationId xmlns:p14="http://schemas.microsoft.com/office/powerpoint/2010/main" val="17361642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B3C2DED-F8E9-3B3D-B870-ABB32B47C7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043202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BB52AE5-DAED-6FEC-B85F-3D40495AB0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Evaluate</a:t>
            </a:r>
            <a:r>
              <a:rPr lang="de-DE" dirty="0"/>
              <a:t> – Ideen konkretisier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7ABBFD5-29C5-089A-2B19-FE595C3262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484784"/>
            <a:ext cx="5578252" cy="3977738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de-DE" dirty="0"/>
              <a:t>Ziele:</a:t>
            </a:r>
          </a:p>
          <a:p>
            <a:r>
              <a:rPr lang="de-DE" dirty="0"/>
              <a:t>Ideen des Teams konkretisieren und greifbar machen ("Denken mit den Händen")</a:t>
            </a:r>
          </a:p>
          <a:p>
            <a:r>
              <a:rPr lang="de-DE" dirty="0"/>
              <a:t>Entwicklung eines groben Modells, das die Innovation des Teams für Nutzer erlebbar macht (Prototypen dürfen sich iterativ weiterentwickeln, sind zu Beginn eines Projekts grob, werden dann aber schrittweise verfeinert)</a:t>
            </a:r>
          </a:p>
        </p:txBody>
      </p:sp>
    </p:spTree>
    <p:extLst>
      <p:ext uri="{BB962C8B-B14F-4D97-AF65-F5344CB8AC3E}">
        <p14:creationId xmlns:p14="http://schemas.microsoft.com/office/powerpoint/2010/main" val="3491628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B3C2DED-F8E9-3B3D-B870-ABB32B47C7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094391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B3C2DED-F8E9-3B3D-B870-ABB32B47C7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BB52AE5-DAED-6FEC-B85F-3D40495AB0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Evaluate</a:t>
            </a:r>
            <a:r>
              <a:rPr lang="de-DE" dirty="0"/>
              <a:t> – Ideen evaluier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7ABBFD5-29C5-089A-2B19-FE595C3262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124744"/>
            <a:ext cx="5578252" cy="4680520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de-DE" sz="2000" dirty="0"/>
              <a:t>Ziele:</a:t>
            </a:r>
          </a:p>
          <a:p>
            <a:r>
              <a:rPr lang="de-DE" sz="2000" dirty="0"/>
              <a:t>Testen des entwickelten Prototyps mit Nutzern</a:t>
            </a:r>
          </a:p>
          <a:p>
            <a:r>
              <a:rPr lang="de-DE" sz="2000" dirty="0"/>
              <a:t>Getestet werden soll die dem Prototyp zugrundeliegende Hypothese bzw. die dem Prototyp zugrundeliegenden Prinzipien (d.h. den Kern der Idee testen)</a:t>
            </a:r>
          </a:p>
          <a:p>
            <a:r>
              <a:rPr lang="de-DE" sz="2000" dirty="0"/>
              <a:t>Die Erkenntnisse aus dem </a:t>
            </a:r>
            <a:r>
              <a:rPr lang="de-DE" sz="2000" dirty="0" err="1"/>
              <a:t>Testing</a:t>
            </a:r>
            <a:r>
              <a:rPr lang="de-DE" sz="2000" dirty="0"/>
              <a:t> können wieder in weiteren Iterationen des Prototyps integriert werden oder das Team in ein andere Phase (*Create*, oder *</a:t>
            </a:r>
            <a:r>
              <a:rPr lang="de-DE" sz="2000" dirty="0" err="1"/>
              <a:t>Evaluate</a:t>
            </a:r>
            <a:r>
              <a:rPr lang="de-DE" sz="2000" dirty="0"/>
              <a:t>*) führen</a:t>
            </a:r>
          </a:p>
          <a:p>
            <a:r>
              <a:rPr lang="de-DE" sz="2000" dirty="0"/>
              <a:t>Testen ähnelt der Beobachtung, der Prototyp ist ein Artefakt zur Kommunikation, um mehr über die Nutzer und deren Bedürfnisse zu erfahren</a:t>
            </a:r>
          </a:p>
          <a:p>
            <a:r>
              <a:rPr lang="de-DE" sz="2000" dirty="0"/>
              <a:t>Geschäftsmodell entwickeln und bewerten</a:t>
            </a:r>
          </a:p>
        </p:txBody>
      </p:sp>
    </p:spTree>
    <p:extLst>
      <p:ext uri="{BB962C8B-B14F-4D97-AF65-F5344CB8AC3E}">
        <p14:creationId xmlns:p14="http://schemas.microsoft.com/office/powerpoint/2010/main" val="27502909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4F6489-0FF1-70B6-42B6-7CC85A498B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387032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E6EE175-1E34-688D-CE9C-86364B1F8C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Evaluate - Ausgangspunk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89B34E-B414-C5EF-552B-F35B58AC042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DE" dirty="0"/>
              <a:t>Wann:</a:t>
            </a:r>
          </a:p>
          <a:p>
            <a:r>
              <a:rPr lang="en-DE" dirty="0"/>
              <a:t>Team hat eine konkrete Idee und möchte mehr über die Idee erfahren</a:t>
            </a:r>
          </a:p>
        </p:txBody>
      </p:sp>
    </p:spTree>
    <p:extLst>
      <p:ext uri="{BB962C8B-B14F-4D97-AF65-F5344CB8AC3E}">
        <p14:creationId xmlns:p14="http://schemas.microsoft.com/office/powerpoint/2010/main" val="11502408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 bwMode="auto">
          <a:xfrm>
            <a:off x="-96689" y="1556792"/>
            <a:ext cx="6408710" cy="576064"/>
          </a:xfrm>
          <a:prstGeom prst="rect">
            <a:avLst/>
          </a:prstGeom>
          <a:solidFill>
            <a:srgbClr val="C6E4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de-DE"/>
              <a:t>Agenda </a:t>
            </a:r>
            <a:endParaRPr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7" y="1111183"/>
            <a:ext cx="6700737" cy="4911547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de-DE" dirty="0"/>
              <a:t>Überblick Create-Modul</a:t>
            </a:r>
          </a:p>
          <a:p>
            <a:pPr>
              <a:defRPr/>
            </a:pPr>
            <a:r>
              <a:rPr lang="de-DE" dirty="0"/>
              <a:t>Methoden</a:t>
            </a:r>
          </a:p>
          <a:p>
            <a:pPr>
              <a:defRPr/>
            </a:pPr>
            <a:r>
              <a:rPr lang="de-DE" dirty="0"/>
              <a:t>Fazit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</p:txBody>
      </p:sp>
      <p:cxnSp>
        <p:nvCxnSpPr>
          <p:cNvPr id="6" name="Gerader Verbinder 5"/>
          <p:cNvCxnSpPr>
            <a:cxnSpLocks/>
          </p:cNvCxnSpPr>
          <p:nvPr/>
        </p:nvCxnSpPr>
        <p:spPr bwMode="auto">
          <a:xfrm>
            <a:off x="263352" y="-27384"/>
            <a:ext cx="0" cy="6957392"/>
          </a:xfrm>
          <a:prstGeom prst="line">
            <a:avLst/>
          </a:prstGeom>
          <a:ln w="57150">
            <a:solidFill>
              <a:srgbClr val="3B9C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76092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7875E05-CAB4-273E-A184-5CDFA95150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230641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84A631D-3A70-DDE2-1D2A-DB17DE135D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748" y="2636912"/>
            <a:ext cx="10515600" cy="410729"/>
          </a:xfrm>
        </p:spPr>
        <p:txBody>
          <a:bodyPr vert="horz"/>
          <a:lstStyle/>
          <a:p>
            <a:r>
              <a:rPr lang="de-DE" dirty="0" err="1"/>
              <a:t>Prototyp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40518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C70912A-379B-DA7E-BA71-702DAF2F81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201492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A2A5946-1945-2F95-A221-95A4100D00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Beispiele</a:t>
            </a:r>
            <a:r>
              <a:rPr lang="en-GB" dirty="0"/>
              <a:t> für </a:t>
            </a:r>
            <a:r>
              <a:rPr lang="en-GB" dirty="0" err="1"/>
              <a:t>Prototypen</a:t>
            </a:r>
            <a:endParaRPr lang="en-GB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97255172-DF14-63B4-23D2-1637B7C6C1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748" y="1460500"/>
            <a:ext cx="4813300" cy="393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04A71E96-6900-8193-3A03-4FE7EB22EE6A}"/>
              </a:ext>
            </a:extLst>
          </p:cNvPr>
          <p:cNvSpPr txBox="1"/>
          <p:nvPr/>
        </p:nvSpPr>
        <p:spPr>
          <a:xfrm>
            <a:off x="536412" y="6463687"/>
            <a:ext cx="472437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ildquelle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: 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https:/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albertosavoia.medium.com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the-palm-pilot-story-1a3424d2ffe4</a:t>
            </a:r>
            <a:endParaRPr lang="en-GB" sz="1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67303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C70912A-379B-DA7E-BA71-702DAF2F81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C70912A-379B-DA7E-BA71-702DAF2F81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A2A5946-1945-2F95-A221-95A4100D00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Beispiele</a:t>
            </a:r>
            <a:r>
              <a:rPr lang="en-GB" dirty="0"/>
              <a:t> für </a:t>
            </a:r>
            <a:r>
              <a:rPr lang="en-GB" dirty="0" err="1"/>
              <a:t>Prototypen</a:t>
            </a:r>
            <a:endParaRPr lang="en-GB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4A71E96-6900-8193-3A03-4FE7EB22EE6A}"/>
              </a:ext>
            </a:extLst>
          </p:cNvPr>
          <p:cNvSpPr txBox="1"/>
          <p:nvPr/>
        </p:nvSpPr>
        <p:spPr>
          <a:xfrm>
            <a:off x="536412" y="6463687"/>
            <a:ext cx="683712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ildquelle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: 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http://68.media.tumblr.com/31b6e63c9ebaf232064cd1b303d106b1/tumblr_inline_n2og9b4ghB1qzvn62.jpg</a:t>
            </a:r>
            <a:endParaRPr lang="en-GB" sz="1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2322ED1-4A69-B06F-7E4B-B53FCF12484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5400" y="1669512"/>
            <a:ext cx="9940607" cy="3518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40372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Benutzerdefiniert 2">
      <a:dk1>
        <a:srgbClr val="000000"/>
      </a:dk1>
      <a:lt1>
        <a:srgbClr val="F0F0F0"/>
      </a:lt1>
      <a:dk2>
        <a:srgbClr val="002C6F"/>
      </a:dk2>
      <a:lt2>
        <a:srgbClr val="002C6F"/>
      </a:lt2>
      <a:accent1>
        <a:srgbClr val="002C6F"/>
      </a:accent1>
      <a:accent2>
        <a:srgbClr val="002C6F"/>
      </a:accent2>
      <a:accent3>
        <a:srgbClr val="F1F1F1"/>
      </a:accent3>
      <a:accent4>
        <a:srgbClr val="CCEB9D"/>
      </a:accent4>
      <a:accent5>
        <a:srgbClr val="A5C94F"/>
      </a:accent5>
      <a:accent6>
        <a:srgbClr val="70AD47"/>
      </a:accent6>
      <a:hlink>
        <a:srgbClr val="79DAF6"/>
      </a:hlink>
      <a:folHlink>
        <a:srgbClr val="CF5858"/>
      </a:folHlink>
    </a:clrScheme>
    <a:fontScheme name="Trebuchet MS">
      <a:majorFont>
        <a:latin typeface="Trebuchet MS"/>
        <a:ea typeface="Arial"/>
        <a:cs typeface="Arial"/>
      </a:majorFont>
      <a:minorFont>
        <a:latin typeface="Trebuchet MS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885</TotalTime>
  <Words>753</Words>
  <Application>Microsoft Macintosh PowerPoint</Application>
  <DocSecurity>0</DocSecurity>
  <PresentationFormat>Widescreen</PresentationFormat>
  <Paragraphs>123</Paragraphs>
  <Slides>27</Slides>
  <Notes>7</Notes>
  <HiddenSlides>0</HiddenSlides>
  <MMClips>1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9" baseType="lpstr">
      <vt:lpstr>Arial</vt:lpstr>
      <vt:lpstr>Calibri</vt:lpstr>
      <vt:lpstr>Chakra Petch</vt:lpstr>
      <vt:lpstr>Chakra Petch SemiBold</vt:lpstr>
      <vt:lpstr>Lato</vt:lpstr>
      <vt:lpstr>Lato Light</vt:lpstr>
      <vt:lpstr>Roboto Light</vt:lpstr>
      <vt:lpstr>Source Code Pro</vt:lpstr>
      <vt:lpstr>Trebuchet MS</vt:lpstr>
      <vt:lpstr>Wingdings</vt:lpstr>
      <vt:lpstr>Office</vt:lpstr>
      <vt:lpstr>think-cell Slide</vt:lpstr>
      <vt:lpstr>Digital Innovation – Evaluate</vt:lpstr>
      <vt:lpstr>Agenda </vt:lpstr>
      <vt:lpstr>Evaluate – Ideen konkretisieren</vt:lpstr>
      <vt:lpstr>Evaluate – Ideen evaluieren</vt:lpstr>
      <vt:lpstr>Evaluate - Ausgangspunkt</vt:lpstr>
      <vt:lpstr>Agenda </vt:lpstr>
      <vt:lpstr>Prototyping</vt:lpstr>
      <vt:lpstr>Beispiele für Prototypen</vt:lpstr>
      <vt:lpstr>Beispiele für Prototypen</vt:lpstr>
      <vt:lpstr>Beispiele für Prototypen</vt:lpstr>
      <vt:lpstr>Beispiele für Prototypen</vt:lpstr>
      <vt:lpstr>Beispiele für Prototypen</vt:lpstr>
      <vt:lpstr>Prototyping mit Scenes</vt:lpstr>
      <vt:lpstr>Emotionen mit Scenes</vt:lpstr>
      <vt:lpstr>PowerPoint Presentation</vt:lpstr>
      <vt:lpstr>Testen</vt:lpstr>
      <vt:lpstr>PowerPoint Presentation</vt:lpstr>
      <vt:lpstr>Das Interview in 5 Akten (5 Act Interview)</vt:lpstr>
      <vt:lpstr>Think Aloud</vt:lpstr>
      <vt:lpstr>Feedback Grid und Interaktion</vt:lpstr>
      <vt:lpstr>Business Model Canvas</vt:lpstr>
      <vt:lpstr>Business Model Canvas</vt:lpstr>
      <vt:lpstr>PowerPoint Presentation</vt:lpstr>
      <vt:lpstr>Grow</vt:lpstr>
      <vt:lpstr>PowerPoint Presentation</vt:lpstr>
      <vt:lpstr>Agenda </vt:lpstr>
      <vt:lpstr>Fazit - Evaluat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OCHE 2</dc:title>
  <dc:subject/>
  <dc:creator>Melanie Lachmann</dc:creator>
  <cp:keywords/>
  <dc:description/>
  <cp:lastModifiedBy>Markus Heckner</cp:lastModifiedBy>
  <cp:revision>233</cp:revision>
  <dcterms:created xsi:type="dcterms:W3CDTF">2022-02-03T14:23:38Z</dcterms:created>
  <dcterms:modified xsi:type="dcterms:W3CDTF">2023-03-01T09:10:40Z</dcterms:modified>
  <cp:category/>
  <dc:identifier/>
  <cp:contentStatus/>
  <dc:language/>
  <cp:version/>
</cp:coreProperties>
</file>